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422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4/07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4/07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336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4 July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0638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">
            <a:extLst>
              <a:ext uri="{FF2B5EF4-FFF2-40B4-BE49-F238E27FC236}">
                <a16:creationId xmlns:a16="http://schemas.microsoft.com/office/drawing/2014/main" id="{593951CF-9976-403F-BA2F-CEDF5664A12B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5" name="Rechteck 3">
              <a:extLst>
                <a:ext uri="{FF2B5EF4-FFF2-40B4-BE49-F238E27FC236}">
                  <a16:creationId xmlns:a16="http://schemas.microsoft.com/office/drawing/2014/main" id="{36824370-4FC8-48AC-BE46-AC2B89501F14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26" name="Rechteck 4">
              <a:extLst>
                <a:ext uri="{FF2B5EF4-FFF2-40B4-BE49-F238E27FC236}">
                  <a16:creationId xmlns:a16="http://schemas.microsoft.com/office/drawing/2014/main" id="{752566B7-6D09-4ED2-9C56-48B89F857448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marR="0" lvl="0" indent="-182563" algn="l" defTabSz="914400" rtl="0" eaLnBrk="1" fontAlgn="auto" latinLnBrk="0" hangingPunct="1">
                <a:lnSpc>
                  <a:spcPct val="100000"/>
                </a:lnSpc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GB" alt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hteck 11">
              <a:extLst>
                <a:ext uri="{FF2B5EF4-FFF2-40B4-BE49-F238E27FC236}">
                  <a16:creationId xmlns:a16="http://schemas.microsoft.com/office/drawing/2014/main" id="{58241A40-AC9D-4E1C-BF3E-6CB756F23BDA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28" name="Rechteck 12">
              <a:extLst>
                <a:ext uri="{FF2B5EF4-FFF2-40B4-BE49-F238E27FC236}">
                  <a16:creationId xmlns:a16="http://schemas.microsoft.com/office/drawing/2014/main" id="{4CBBB0DE-ACFF-4BC4-9ACD-87558DD61DDB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marR="0" lvl="1" indent="-182563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kumimoji="0" lang="fr-FR" alt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charset="-128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altLang="fr-FR" dirty="0"/>
              <a:t>Reduza seu custo de manutenção e melhore a eficiência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385017"/>
            <a:ext cx="7997825" cy="307975"/>
          </a:xfrm>
        </p:spPr>
        <p:txBody>
          <a:bodyPr/>
          <a:lstStyle/>
          <a:p>
            <a:r>
              <a:rPr lang="en-US" dirty="0" err="1"/>
              <a:t>Garras</a:t>
            </a:r>
            <a:r>
              <a:rPr lang="en-US" dirty="0"/>
              <a:t> </a:t>
            </a:r>
            <a:r>
              <a:rPr lang="en-US" dirty="0" err="1"/>
              <a:t>pneumáticas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pt-BR" sz="1200" b="1" dirty="0"/>
              <a:t>Manutenção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Novas pinças pneumáticas melhoram a vida útil do dispositiv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São mais resistentes ao impact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Menos manutençã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Redução no desgaste dos componentes de nivelamento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pt-BR" sz="1200" dirty="0"/>
          </a:p>
          <a:p>
            <a:pPr>
              <a:buClr>
                <a:schemeClr val="accent4"/>
              </a:buClr>
            </a:pPr>
            <a:r>
              <a:rPr lang="pt-BR" sz="1200" b="1" dirty="0"/>
              <a:t>Eficiência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Aperto e liberação precisos da garrafa</a:t>
            </a:r>
            <a:endParaRPr lang="en-GB" sz="12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GB" sz="1200" dirty="0"/>
          </a:p>
          <a:p>
            <a:pPr>
              <a:buClr>
                <a:schemeClr val="accent4"/>
              </a:buClr>
            </a:pP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30956"/>
            <a:ext cx="3889375" cy="220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O dispositivo antigo possui um ar pneumático de membrana TPE ativado por uma compressão no gargalo que requer substituições frequent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Com o novo dispositivo, não há membrana instalada, mas «Dedos» com funcionamento pneumático / mecânic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A aderência está no gargal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É mais resistente ao impacto com a garraf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200" dirty="0"/>
              <a:t>Diâmetro de garra de ampla faixa (ID = 35-42-48; DO = 52,5 - 58-65-72 mm).</a:t>
            </a:r>
            <a:endParaRPr lang="en-GB" sz="1200" dirty="0"/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CB889B-45E0-44A0-9686-49049B5AA2F5}"/>
              </a:ext>
            </a:extLst>
          </p:cNvPr>
          <p:cNvPicPr/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127" y="4152928"/>
            <a:ext cx="685797" cy="15992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5EB7C57-D58F-40DB-8412-516DEFB3525E}"/>
              </a:ext>
            </a:extLst>
          </p:cNvPr>
          <p:cNvPicPr/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825" y="4187940"/>
            <a:ext cx="761322" cy="15210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4EC163A4-75BE-4AE7-B072-E452702C6577}"/>
              </a:ext>
            </a:extLst>
          </p:cNvPr>
          <p:cNvSpPr/>
          <p:nvPr/>
        </p:nvSpPr>
        <p:spPr>
          <a:xfrm>
            <a:off x="6336238" y="4882098"/>
            <a:ext cx="685798" cy="21449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D38F7BC-6893-4F47-9EB7-DFB0305BF55C}"/>
              </a:ext>
            </a:extLst>
          </p:cNvPr>
          <p:cNvSpPr txBox="1">
            <a:spLocks/>
          </p:cNvSpPr>
          <p:nvPr/>
        </p:nvSpPr>
        <p:spPr bwMode="auto">
          <a:xfrm>
            <a:off x="654843" y="590157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</a:t>
            </a:r>
            <a:r>
              <a:rPr lang="pt-BR" sz="800" dirty="0">
                <a:solidFill>
                  <a:srgbClr val="000000"/>
                </a:solidFill>
              </a:rPr>
              <a:t>Manutenção, Eficiência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fontAlgn="base">
              <a:spcAft>
                <a:spcPct val="0"/>
              </a:spcAft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en-US" sz="800" dirty="0">
                <a:solidFill>
                  <a:srgbClr val="000000"/>
                </a:solidFill>
              </a:rPr>
              <a:t>Pal/</a:t>
            </a:r>
            <a:r>
              <a:rPr lang="en-US" sz="800" dirty="0" err="1">
                <a:solidFill>
                  <a:srgbClr val="000000"/>
                </a:solidFill>
              </a:rPr>
              <a:t>Depal</a:t>
            </a:r>
            <a:r>
              <a:rPr lang="en-US" sz="800" dirty="0">
                <a:solidFill>
                  <a:srgbClr val="000000"/>
                </a:solidFill>
              </a:rPr>
              <a:t> (PR)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álogo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OL-008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</TotalTime>
  <Words>140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Reduza seu custo de manutenção e melhore a eficiênci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81</cp:revision>
  <cp:lastPrinted>2019-06-12T12:46:07Z</cp:lastPrinted>
  <dcterms:created xsi:type="dcterms:W3CDTF">2017-07-10T14:51:51Z</dcterms:created>
  <dcterms:modified xsi:type="dcterms:W3CDTF">2020-07-24T13:0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andrea.pedretti@gebocermex.com</vt:lpwstr>
  </property>
  <property fmtid="{D5CDD505-2E9C-101B-9397-08002B2CF9AE}" pid="7" name="MSIP_Label_94480757-a570-4f64-84e7-c5b3ffe9d573_SetDate">
    <vt:lpwstr>2019-05-30T13:19:45.612361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1f25b6fc-49ab-4edd-ab0d-a19355d82709_Enabled">
    <vt:lpwstr>True</vt:lpwstr>
  </property>
  <property fmtid="{D5CDD505-2E9C-101B-9397-08002B2CF9AE}" pid="12" name="MSIP_Label_1f25b6fc-49ab-4edd-ab0d-a19355d82709_SiteId">
    <vt:lpwstr>2390cbd1-e663-4321-bc93-ba298637ce52</vt:lpwstr>
  </property>
  <property fmtid="{D5CDD505-2E9C-101B-9397-08002B2CF9AE}" pid="13" name="MSIP_Label_1f25b6fc-49ab-4edd-ab0d-a19355d82709_Owner">
    <vt:lpwstr>andrea.pedretti@gebocermex.com</vt:lpwstr>
  </property>
  <property fmtid="{D5CDD505-2E9C-101B-9397-08002B2CF9AE}" pid="14" name="MSIP_Label_1f25b6fc-49ab-4edd-ab0d-a19355d82709_SetDate">
    <vt:lpwstr>2018-12-20T11:02:58.8854259+01:00</vt:lpwstr>
  </property>
  <property fmtid="{D5CDD505-2E9C-101B-9397-08002B2CF9AE}" pid="15" name="MSIP_Label_1f25b6fc-49ab-4edd-ab0d-a19355d82709_Name">
    <vt:lpwstr>Sidel-Public</vt:lpwstr>
  </property>
  <property fmtid="{D5CDD505-2E9C-101B-9397-08002B2CF9AE}" pid="16" name="MSIP_Label_1f25b6fc-49ab-4edd-ab0d-a19355d82709_Application">
    <vt:lpwstr>Microsoft Azure Information Protection</vt:lpwstr>
  </property>
  <property fmtid="{D5CDD505-2E9C-101B-9397-08002B2CF9AE}" pid="17" name="MSIP_Label_1f25b6fc-49ab-4edd-ab0d-a19355d82709_Extended_MSFT_Method">
    <vt:lpwstr>Manual</vt:lpwstr>
  </property>
  <property fmtid="{D5CDD505-2E9C-101B-9397-08002B2CF9AE}" pid="18" name="Sensitivity">
    <vt:lpwstr>General Sidel-Public</vt:lpwstr>
  </property>
</Properties>
</file>